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0"/>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300" r:id="rId28"/>
    <p:sldId id="292" r:id="rId29"/>
    <p:sldId id="271" r:id="rId30"/>
    <p:sldId id="293" r:id="rId31"/>
    <p:sldId id="298" r:id="rId32"/>
    <p:sldId id="297" r:id="rId33"/>
    <p:sldId id="299" r:id="rId34"/>
    <p:sldId id="294" r:id="rId35"/>
    <p:sldId id="296" r:id="rId36"/>
    <p:sldId id="270" r:id="rId37"/>
    <p:sldId id="295" r:id="rId38"/>
    <p:sldId id="273"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448B91"/>
    <a:srgbClr val="BAC48E"/>
    <a:srgbClr val="C2D181"/>
    <a:srgbClr val="B1789C"/>
    <a:srgbClr val="B5BD95"/>
    <a:srgbClr val="B1B69C"/>
    <a:srgbClr val="BFCC86"/>
    <a:srgbClr val="080804"/>
    <a:srgbClr val="F774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91822" autoAdjust="0"/>
  </p:normalViewPr>
  <p:slideViewPr>
    <p:cSldViewPr snapToGrid="0">
      <p:cViewPr varScale="1">
        <p:scale>
          <a:sx n="74" d="100"/>
          <a:sy n="74" d="100"/>
        </p:scale>
        <p:origin x="60"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5/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WU0gvPcc3jQ?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25.jpeg"/><Relationship Id="rId4" Type="http://schemas.openxmlformats.org/officeDocument/2006/relationships/image" Target="../media/image15.gif"/></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7"/>
          <a:stretch>
            <a:fillRect/>
          </a:stretch>
        </p:blipFill>
        <p:spPr>
          <a:xfrm>
            <a:off x="2382071" y="1822189"/>
            <a:ext cx="7120132" cy="40228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985;p84">
            <a:extLst>
              <a:ext uri="{FF2B5EF4-FFF2-40B4-BE49-F238E27FC236}">
                <a16:creationId xmlns:a16="http://schemas.microsoft.com/office/drawing/2014/main" id="{ED011C6E-AC16-4235-B186-AFBAE28702C0}"/>
              </a:ext>
            </a:extLst>
          </p:cNvPr>
          <p:cNvSpPr/>
          <p:nvPr/>
        </p:nvSpPr>
        <p:spPr>
          <a:xfrm>
            <a:off x="6343428" y="3688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801</TotalTime>
  <Words>1400</Words>
  <Application>Microsoft Office PowerPoint</Application>
  <PresentationFormat>Widescreen</PresentationFormat>
  <Paragraphs>300</Paragraphs>
  <Slides>38</Slides>
  <Notes>22</Notes>
  <HiddenSlides>0</HiddenSlides>
  <MMClips>2</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8</vt:i4>
      </vt:variant>
    </vt:vector>
  </HeadingPairs>
  <TitlesOfParts>
    <vt:vector size="49" baseType="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22</cp:revision>
  <dcterms:created xsi:type="dcterms:W3CDTF">2021-12-20T17:41:23Z</dcterms:created>
  <dcterms:modified xsi:type="dcterms:W3CDTF">2021-12-25T10:09:39Z</dcterms:modified>
</cp:coreProperties>
</file>